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80" r:id="rId2"/>
    <p:sldMasterId id="2147483704" r:id="rId3"/>
  </p:sldMasterIdLst>
  <p:notesMasterIdLst>
    <p:notesMasterId r:id="rId39"/>
  </p:notesMasterIdLst>
  <p:handoutMasterIdLst>
    <p:handoutMasterId r:id="rId40"/>
  </p:handoutMasterIdLst>
  <p:sldIdLst>
    <p:sldId id="261" r:id="rId4"/>
    <p:sldId id="332" r:id="rId5"/>
    <p:sldId id="340" r:id="rId6"/>
    <p:sldId id="341" r:id="rId7"/>
    <p:sldId id="333" r:id="rId8"/>
    <p:sldId id="334" r:id="rId9"/>
    <p:sldId id="342" r:id="rId10"/>
    <p:sldId id="335" r:id="rId11"/>
    <p:sldId id="336" r:id="rId12"/>
    <p:sldId id="343" r:id="rId13"/>
    <p:sldId id="344" r:id="rId14"/>
    <p:sldId id="345" r:id="rId15"/>
    <p:sldId id="346" r:id="rId16"/>
    <p:sldId id="347" r:id="rId17"/>
    <p:sldId id="349" r:id="rId18"/>
    <p:sldId id="353" r:id="rId19"/>
    <p:sldId id="348" r:id="rId20"/>
    <p:sldId id="350" r:id="rId21"/>
    <p:sldId id="351" r:id="rId22"/>
    <p:sldId id="354" r:id="rId23"/>
    <p:sldId id="355" r:id="rId24"/>
    <p:sldId id="356" r:id="rId25"/>
    <p:sldId id="357" r:id="rId26"/>
    <p:sldId id="358" r:id="rId27"/>
    <p:sldId id="352" r:id="rId28"/>
    <p:sldId id="359" r:id="rId29"/>
    <p:sldId id="360" r:id="rId30"/>
    <p:sldId id="361" r:id="rId31"/>
    <p:sldId id="311" r:id="rId32"/>
    <p:sldId id="312" r:id="rId33"/>
    <p:sldId id="313" r:id="rId34"/>
    <p:sldId id="314" r:id="rId35"/>
    <p:sldId id="315" r:id="rId36"/>
    <p:sldId id="316" r:id="rId37"/>
    <p:sldId id="288" r:id="rId38"/>
  </p:sldIdLst>
  <p:sldSz cx="9144000" cy="6858000" type="screen4x3"/>
  <p:notesSz cx="6797675" cy="9928225"/>
  <p:defaultTextStyle>
    <a:defPPr>
      <a:defRPr lang="it-IT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B9B9B"/>
    <a:srgbClr val="FFFF99"/>
    <a:srgbClr val="FFCC00"/>
    <a:srgbClr val="FF9900"/>
    <a:srgbClr val="C0C0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56" d="100"/>
          <a:sy n="156" d="100"/>
        </p:scale>
        <p:origin x="1944" y="13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handoutMaster" Target="handoutMasters/handoutMaster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9523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0443" y="0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9523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0091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9523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0443" y="9430091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fld id="{16736452-6F31-47DE-AF9C-9701C7A2D54C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798014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43" y="0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1536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715907"/>
            <a:ext cx="5438140" cy="44677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noProof="0" smtClean="0"/>
              <a:t>Fare clic per modificare gli stili del testo dello schema</a:t>
            </a:r>
          </a:p>
          <a:p>
            <a:pPr lvl="1"/>
            <a:r>
              <a:rPr lang="it-IT" noProof="0" smtClean="0"/>
              <a:t>Secondo livello</a:t>
            </a:r>
          </a:p>
          <a:p>
            <a:pPr lvl="2"/>
            <a:r>
              <a:rPr lang="it-IT" noProof="0" smtClean="0"/>
              <a:t>Terzo livello</a:t>
            </a:r>
          </a:p>
          <a:p>
            <a:pPr lvl="3"/>
            <a:r>
              <a:rPr lang="it-IT" noProof="0" smtClean="0"/>
              <a:t>Quarto livello</a:t>
            </a:r>
          </a:p>
          <a:p>
            <a:pPr lvl="4"/>
            <a:r>
              <a:rPr lang="it-IT" noProof="0" smtClean="0"/>
              <a:t>Quinto livello</a:t>
            </a:r>
          </a:p>
        </p:txBody>
      </p:sp>
      <p:sp>
        <p:nvSpPr>
          <p:cNvPr id="133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0091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133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43" y="9430091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fld id="{D1885DCE-3AD4-4964-85D5-73C7EBEB7E91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6162997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egnaposto immagine diapositiva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6387" name="Segnaposto note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16388" name="Segnaposto numero diapositiva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D5E2AF4-FFFE-49F5-A159-680627509B54}" type="slidenum">
              <a:rPr lang="it-IT"/>
              <a:pPr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180067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5.jpeg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9.xml"/><Relationship Id="rId7" Type="http://schemas.openxmlformats.org/officeDocument/2006/relationships/image" Target="../media/image3.emf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0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12.xml"/><Relationship Id="rId7" Type="http://schemas.openxmlformats.org/officeDocument/2006/relationships/image" Target="../media/image3.emf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copertina_ppt_eni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025" y="9525"/>
            <a:ext cx="8997950" cy="6838950"/>
          </a:xfrm>
          <a:prstGeom prst="rect">
            <a:avLst/>
          </a:prstGeom>
          <a:noFill/>
        </p:spPr>
      </p:pic>
      <p:sp>
        <p:nvSpPr>
          <p:cNvPr id="81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4111625"/>
            <a:ext cx="7772400" cy="765175"/>
          </a:xfrm>
          <a:ln w="9525"/>
        </p:spPr>
        <p:txBody>
          <a:bodyPr lIns="91440" tIns="45720" anchor="ctr"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it-IT"/>
              <a:t>Titolo copertina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85800" y="4876800"/>
            <a:ext cx="6400800" cy="6096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it-IT"/>
              <a:t>Sottotitolo copertina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6CB8D6-BBB1-4819-9170-8E9672336D04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648450" y="-26988"/>
            <a:ext cx="2076450" cy="5191126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19100" y="-26988"/>
            <a:ext cx="6076950" cy="5191126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3A014B-0ADC-4821-A3E3-4D5916FCD448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olo, test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19100" y="-26988"/>
            <a:ext cx="8305800" cy="792163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sz="half" idx="1"/>
          </p:nvPr>
        </p:nvSpPr>
        <p:spPr>
          <a:xfrm>
            <a:off x="971550" y="1125538"/>
            <a:ext cx="3692525" cy="4038600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816475" y="1125538"/>
            <a:ext cx="3692525" cy="4038600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18E2E3-F9E0-417D-BFB2-188160BDCEFE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olo e contenuto sopra tes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19100" y="-26988"/>
            <a:ext cx="8305800" cy="792163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quarter" idx="1"/>
          </p:nvPr>
        </p:nvSpPr>
        <p:spPr>
          <a:xfrm>
            <a:off x="971550" y="1125538"/>
            <a:ext cx="3692525" cy="1943100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quarter" idx="2"/>
          </p:nvPr>
        </p:nvSpPr>
        <p:spPr>
          <a:xfrm>
            <a:off x="4816475" y="1125538"/>
            <a:ext cx="3692525" cy="1943100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half" idx="3"/>
          </p:nvPr>
        </p:nvSpPr>
        <p:spPr>
          <a:xfrm>
            <a:off x="971550" y="3221038"/>
            <a:ext cx="7537450" cy="1943100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70A7DF-63D0-4953-8244-EC49E2DA6A60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olo, testo e contenu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19100" y="-26988"/>
            <a:ext cx="8305800" cy="792163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sz="half" idx="1"/>
          </p:nvPr>
        </p:nvSpPr>
        <p:spPr>
          <a:xfrm>
            <a:off x="971550" y="1125538"/>
            <a:ext cx="3692525" cy="4038600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quarter" idx="2"/>
          </p:nvPr>
        </p:nvSpPr>
        <p:spPr>
          <a:xfrm>
            <a:off x="4816475" y="1125538"/>
            <a:ext cx="3692525" cy="1943100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contenuto 4"/>
          <p:cNvSpPr>
            <a:spLocks noGrp="1"/>
          </p:cNvSpPr>
          <p:nvPr>
            <p:ph sz="quarter" idx="3"/>
          </p:nvPr>
        </p:nvSpPr>
        <p:spPr>
          <a:xfrm>
            <a:off x="4816475" y="3221038"/>
            <a:ext cx="3692525" cy="1943100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818818-48C4-4C23-8ED9-F0AB62260FBF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olo e  contenut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sz="quarter"/>
          </p:nvPr>
        </p:nvSpPr>
        <p:spPr>
          <a:xfrm>
            <a:off x="419100" y="-26988"/>
            <a:ext cx="8305800" cy="792163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quarter" idx="1"/>
          </p:nvPr>
        </p:nvSpPr>
        <p:spPr>
          <a:xfrm>
            <a:off x="971550" y="1125538"/>
            <a:ext cx="3692525" cy="1943100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quarter" idx="2"/>
          </p:nvPr>
        </p:nvSpPr>
        <p:spPr>
          <a:xfrm>
            <a:off x="4816475" y="1125538"/>
            <a:ext cx="3692525" cy="1943100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contenuto 4"/>
          <p:cNvSpPr>
            <a:spLocks noGrp="1"/>
          </p:cNvSpPr>
          <p:nvPr>
            <p:ph sz="quarter" idx="3"/>
          </p:nvPr>
        </p:nvSpPr>
        <p:spPr>
          <a:xfrm>
            <a:off x="971550" y="3221038"/>
            <a:ext cx="3692525" cy="1943100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816475" y="3221038"/>
            <a:ext cx="3692525" cy="1943100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424F0E-527C-4785-8EB9-50E1C7413875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8E3B1A-1F81-4ACC-8223-F644A81B41EA}" type="datetimeFigureOut">
              <a:rPr lang="it-IT">
                <a:solidFill>
                  <a:prstClr val="black">
                    <a:tint val="75000"/>
                  </a:prstClr>
                </a:solidFill>
              </a:rPr>
              <a:pPr/>
              <a:t>06/07/2016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DCCECE-18FD-42D7-8F51-7381C7C0D36D}" type="slidenum">
              <a:rPr lang="it-IT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30945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8E3B1A-1F81-4ACC-8223-F644A81B41EA}" type="datetimeFigureOut">
              <a:rPr lang="it-IT">
                <a:solidFill>
                  <a:prstClr val="black">
                    <a:tint val="75000"/>
                  </a:prstClr>
                </a:solidFill>
              </a:rPr>
              <a:pPr/>
              <a:t>06/07/2016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DCCECE-18FD-42D7-8F51-7381C7C0D36D}" type="slidenum">
              <a:rPr lang="it-IT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49892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8E3B1A-1F81-4ACC-8223-F644A81B41EA}" type="datetimeFigureOut">
              <a:rPr lang="it-IT">
                <a:solidFill>
                  <a:prstClr val="black">
                    <a:tint val="75000"/>
                  </a:prstClr>
                </a:solidFill>
              </a:rPr>
              <a:pPr/>
              <a:t>06/07/2016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DCCECE-18FD-42D7-8F51-7381C7C0D36D}" type="slidenum">
              <a:rPr lang="it-IT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12080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8E3B1A-1F81-4ACC-8223-F644A81B41EA}" type="datetimeFigureOut">
              <a:rPr lang="it-IT">
                <a:solidFill>
                  <a:prstClr val="black">
                    <a:tint val="75000"/>
                  </a:prstClr>
                </a:solidFill>
              </a:rPr>
              <a:pPr/>
              <a:t>06/07/2016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DCCECE-18FD-42D7-8F51-7381C7C0D36D}" type="slidenum">
              <a:rPr lang="it-IT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96141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98FF0E-BC33-4F63-A398-E4DF11E79406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8E3B1A-1F81-4ACC-8223-F644A81B41EA}" type="datetimeFigureOut">
              <a:rPr lang="it-IT">
                <a:solidFill>
                  <a:prstClr val="black">
                    <a:tint val="75000"/>
                  </a:prstClr>
                </a:solidFill>
              </a:rPr>
              <a:pPr/>
              <a:t>06/07/2016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DCCECE-18FD-42D7-8F51-7381C7C0D36D}" type="slidenum">
              <a:rPr lang="it-IT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28753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8E3B1A-1F81-4ACC-8223-F644A81B41EA}" type="datetimeFigureOut">
              <a:rPr lang="it-IT">
                <a:solidFill>
                  <a:prstClr val="black">
                    <a:tint val="75000"/>
                  </a:prstClr>
                </a:solidFill>
              </a:rPr>
              <a:pPr/>
              <a:t>06/07/2016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DCCECE-18FD-42D7-8F51-7381C7C0D36D}" type="slidenum">
              <a:rPr lang="it-IT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4419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8E3B1A-1F81-4ACC-8223-F644A81B41EA}" type="datetimeFigureOut">
              <a:rPr lang="it-IT">
                <a:solidFill>
                  <a:prstClr val="black">
                    <a:tint val="75000"/>
                  </a:prstClr>
                </a:solidFill>
              </a:rPr>
              <a:pPr/>
              <a:t>06/07/2016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DCCECE-18FD-42D7-8F51-7381C7C0D36D}" type="slidenum">
              <a:rPr lang="it-IT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071997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8E3B1A-1F81-4ACC-8223-F644A81B41EA}" type="datetimeFigureOut">
              <a:rPr lang="it-IT">
                <a:solidFill>
                  <a:prstClr val="black">
                    <a:tint val="75000"/>
                  </a:prstClr>
                </a:solidFill>
              </a:rPr>
              <a:pPr/>
              <a:t>06/07/2016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DCCECE-18FD-42D7-8F51-7381C7C0D36D}" type="slidenum">
              <a:rPr lang="it-IT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936031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8E3B1A-1F81-4ACC-8223-F644A81B41EA}" type="datetimeFigureOut">
              <a:rPr lang="it-IT">
                <a:solidFill>
                  <a:prstClr val="black">
                    <a:tint val="75000"/>
                  </a:prstClr>
                </a:solidFill>
              </a:rPr>
              <a:pPr/>
              <a:t>06/07/2016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DCCECE-18FD-42D7-8F51-7381C7C0D36D}" type="slidenum">
              <a:rPr lang="it-IT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379458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8E3B1A-1F81-4ACC-8223-F644A81B41EA}" type="datetimeFigureOut">
              <a:rPr lang="it-IT">
                <a:solidFill>
                  <a:prstClr val="black">
                    <a:tint val="75000"/>
                  </a:prstClr>
                </a:solidFill>
              </a:rPr>
              <a:pPr/>
              <a:t>06/07/2016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DCCECE-18FD-42D7-8F51-7381C7C0D36D}" type="slidenum">
              <a:rPr lang="it-IT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406356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8E3B1A-1F81-4ACC-8223-F644A81B41EA}" type="datetimeFigureOut">
              <a:rPr lang="it-IT">
                <a:solidFill>
                  <a:prstClr val="black">
                    <a:tint val="75000"/>
                  </a:prstClr>
                </a:solidFill>
              </a:rPr>
              <a:pPr/>
              <a:t>06/07/2016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DCCECE-18FD-42D7-8F51-7381C7C0D36D}" type="slidenum">
              <a:rPr lang="it-IT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343641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6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6" descr="cop_graficaA4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6" t="856" r="652" b="1158"/>
          <a:stretch>
            <a:fillRect/>
          </a:stretch>
        </p:blipFill>
        <p:spPr bwMode="auto">
          <a:xfrm>
            <a:off x="106363" y="58739"/>
            <a:ext cx="8913812" cy="671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20"/>
          <p:cNvSpPr txBox="1">
            <a:spLocks noChangeArrowheads="1"/>
          </p:cNvSpPr>
          <p:nvPr userDrawn="1"/>
        </p:nvSpPr>
        <p:spPr bwMode="auto">
          <a:xfrm>
            <a:off x="684213" y="6021390"/>
            <a:ext cx="1079500" cy="219291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buSzPct val="100000"/>
              <a:defRPr/>
            </a:pPr>
            <a:r>
              <a:rPr lang="en-US" sz="825" b="1" dirty="0" smtClean="0">
                <a:solidFill>
                  <a:srgbClr val="000000"/>
                </a:solidFill>
                <a:latin typeface="Verdana" pitchFamily="34" charset="0"/>
                <a:cs typeface="Arial" charset="0"/>
              </a:rPr>
              <a:t>eni.com</a:t>
            </a:r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3287714"/>
            <a:ext cx="7772400" cy="1470025"/>
          </a:xfrm>
          <a:ln w="9525"/>
        </p:spPr>
        <p:txBody>
          <a:bodyPr lIns="91440" tIns="45720" anchor="ctr"/>
          <a:lstStyle>
            <a:lvl1pPr>
              <a:defRPr sz="2250">
                <a:solidFill>
                  <a:schemeClr val="tx1"/>
                </a:solidFill>
              </a:defRPr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85802" y="5130801"/>
            <a:ext cx="7713663" cy="646113"/>
          </a:xfrm>
          <a:ln/>
        </p:spPr>
        <p:txBody>
          <a:bodyPr/>
          <a:lstStyle>
            <a:lvl1pPr marL="0" indent="0">
              <a:buFont typeface="Wingdings" pitchFamily="2" charset="2"/>
              <a:buNone/>
              <a:defRPr sz="1500">
                <a:solidFill>
                  <a:schemeClr val="tx1"/>
                </a:solidFill>
              </a:defRPr>
            </a:lvl1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4817414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6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5" descr="altromarchio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6094414"/>
            <a:ext cx="8299450" cy="663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Line 14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412750" y="765175"/>
            <a:ext cx="8305800" cy="0"/>
          </a:xfrm>
          <a:prstGeom prst="line">
            <a:avLst/>
          </a:prstGeom>
          <a:noFill/>
          <a:ln w="1905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hangingPunct="0"/>
            <a:endParaRPr lang="it-IT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7" name="Title 1"/>
          <p:cNvSpPr txBox="1">
            <a:spLocks/>
          </p:cNvSpPr>
          <p:nvPr userDrawn="1"/>
        </p:nvSpPr>
        <p:spPr bwMode="auto">
          <a:xfrm>
            <a:off x="7942265" y="6435726"/>
            <a:ext cx="636587" cy="184666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buSzPct val="100000"/>
              <a:defRPr/>
            </a:pPr>
            <a:fld id="{535863A5-BA46-460B-9993-F123E3E4E788}" type="slidenum">
              <a:rPr lang="en-US" altLang="it-IT" sz="900" baseline="30000" smtClean="0">
                <a:solidFill>
                  <a:srgbClr val="000000"/>
                </a:solidFill>
                <a:latin typeface="Verdana" panose="020B0604030504040204" pitchFamily="34" charset="0"/>
              </a:rPr>
              <a:pPr algn="r">
                <a:buSzPct val="100000"/>
                <a:defRPr/>
              </a:pPr>
              <a:t>‹N›</a:t>
            </a:fld>
            <a:endParaRPr lang="en-US" altLang="it-IT" sz="900" baseline="30000" dirty="0" smtClean="0">
              <a:solidFill>
                <a:srgbClr val="000000"/>
              </a:solidFill>
              <a:latin typeface="Verdana" panose="020B0604030504040204" pitchFamily="34" charset="0"/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966738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6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5" descr="altromarchio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6094414"/>
            <a:ext cx="8299450" cy="663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Line 14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412750" y="765175"/>
            <a:ext cx="8305800" cy="0"/>
          </a:xfrm>
          <a:prstGeom prst="line">
            <a:avLst/>
          </a:prstGeom>
          <a:noFill/>
          <a:ln w="1905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hangingPunct="0"/>
            <a:endParaRPr lang="it-IT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 userDrawn="1"/>
        </p:nvSpPr>
        <p:spPr bwMode="auto">
          <a:xfrm>
            <a:off x="7942265" y="6435726"/>
            <a:ext cx="636587" cy="184666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buSzPct val="100000"/>
              <a:defRPr/>
            </a:pPr>
            <a:fld id="{C8BFE860-8E2B-4D4E-BE9D-D18DDD9AB7B9}" type="slidenum">
              <a:rPr lang="en-US" altLang="it-IT" sz="900" baseline="30000" smtClean="0">
                <a:solidFill>
                  <a:srgbClr val="000000"/>
                </a:solidFill>
                <a:latin typeface="Verdana" panose="020B0604030504040204" pitchFamily="34" charset="0"/>
              </a:rPr>
              <a:pPr algn="r">
                <a:buSzPct val="100000"/>
                <a:defRPr/>
              </a:pPr>
              <a:t>‹N›</a:t>
            </a:fld>
            <a:endParaRPr lang="en-US" altLang="it-IT" sz="900" baseline="30000" dirty="0" smtClean="0">
              <a:solidFill>
                <a:srgbClr val="000000"/>
              </a:solidFill>
              <a:latin typeface="Verdana" panose="020B0604030504040204" pitchFamily="34" charset="0"/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752517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4FB94F-B139-4973-BE60-E5C1DA954A89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6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2138935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22588" y="0"/>
            <a:ext cx="7886700" cy="648013"/>
          </a:xfrm>
        </p:spPr>
        <p:txBody>
          <a:bodyPr>
            <a:normAutofit/>
          </a:bodyPr>
          <a:lstStyle>
            <a:lvl1pPr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it-IT" dirty="0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050610" y="6086475"/>
            <a:ext cx="1080000" cy="47625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eaLnBrk="0" hangingPunct="0">
              <a:defRPr/>
            </a:pPr>
            <a:fld id="{6792E2B4-5439-4C6B-A0C4-87B8932BB14C}" type="slidenum">
              <a:rPr lang="it-IT">
                <a:solidFill>
                  <a:prstClr val="black"/>
                </a:solidFill>
                <a:latin typeface="Arial" panose="020B0604020202020204" pitchFamily="34" charset="0"/>
              </a:rPr>
              <a:pPr eaLnBrk="0" hangingPunct="0">
                <a:defRPr/>
              </a:pPr>
              <a:t>‹N›</a:t>
            </a:fld>
            <a:endParaRPr lang="it-IT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2955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4001" y="857958"/>
            <a:ext cx="8646971" cy="61539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34001" y="331098"/>
            <a:ext cx="6718167" cy="590215"/>
          </a:xfrm>
        </p:spPr>
        <p:txBody>
          <a:bodyPr anchor="b">
            <a:noAutofit/>
          </a:bodyPr>
          <a:lstStyle>
            <a:lvl1pPr marL="0" indent="0">
              <a:buNone/>
              <a:defRPr sz="19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24599" y="5620954"/>
            <a:ext cx="6718075" cy="424383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04"/>
              </a:spcBef>
              <a:defRPr sz="1000" cap="none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9564786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971550" y="1125538"/>
            <a:ext cx="3692525" cy="4038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816475" y="1125538"/>
            <a:ext cx="3692525" cy="4038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9C7D21-4344-4F9E-8C9D-458E65F0DE50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9CDCA9-8ED0-41E1-9953-1E8932579EC5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7FE736-5AF9-4B0A-8509-FC413C377CD4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0C9278-BAF7-4C9F-A23A-33711FE0EEC6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E2C996-E6AF-4BCA-872C-D0328C13B0F6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57078F-559E-423E-8DE4-522A2250E890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29.xml"/><Relationship Id="rId7" Type="http://schemas.openxmlformats.org/officeDocument/2006/relationships/theme" Target="../theme/theme3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28.xml"/><Relationship Id="rId16" Type="http://schemas.openxmlformats.org/officeDocument/2006/relationships/image" Target="../media/image4.jpeg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31.xml"/><Relationship Id="rId15" Type="http://schemas.openxmlformats.org/officeDocument/2006/relationships/image" Target="../media/image3.emf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30.xml"/><Relationship Id="rId9" Type="http://schemas.openxmlformats.org/officeDocument/2006/relationships/tags" Target="../tags/tag1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623175" y="6381750"/>
            <a:ext cx="1557338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900" smtClean="0">
                <a:latin typeface="+mn-lt"/>
              </a:defRPr>
            </a:lvl1pPr>
          </a:lstStyle>
          <a:p>
            <a:pPr>
              <a:defRPr/>
            </a:pPr>
            <a:fld id="{6E87AB4F-399B-42EB-A1AA-14043FEB0CD0}" type="slidenum">
              <a:rPr lang="it-IT"/>
              <a:pPr>
                <a:defRPr/>
              </a:pPr>
              <a:t>‹N›</a:t>
            </a:fld>
            <a:endParaRPr lang="it-IT"/>
          </a:p>
        </p:txBody>
      </p:sp>
      <p:sp>
        <p:nvSpPr>
          <p:cNvPr id="6147" name="Rectangle 7"/>
          <p:cNvSpPr>
            <a:spLocks noGrp="1" noChangeAspect="1" noChangeArrowheads="1"/>
          </p:cNvSpPr>
          <p:nvPr>
            <p:ph type="title"/>
          </p:nvPr>
        </p:nvSpPr>
        <p:spPr bwMode="auto">
          <a:xfrm>
            <a:off x="419100" y="-26988"/>
            <a:ext cx="8305800" cy="7921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lo stile del titolo</a:t>
            </a:r>
          </a:p>
        </p:txBody>
      </p:sp>
      <p:sp>
        <p:nvSpPr>
          <p:cNvPr id="1038" name="Line 14"/>
          <p:cNvSpPr>
            <a:spLocks noChangeShapeType="1"/>
          </p:cNvSpPr>
          <p:nvPr/>
        </p:nvSpPr>
        <p:spPr bwMode="auto">
          <a:xfrm>
            <a:off x="412750" y="765175"/>
            <a:ext cx="8305800" cy="0"/>
          </a:xfrm>
          <a:prstGeom prst="line">
            <a:avLst/>
          </a:prstGeom>
          <a:noFill/>
          <a:ln w="19050">
            <a:solidFill>
              <a:schemeClr val="bg2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it-IT"/>
          </a:p>
        </p:txBody>
      </p:sp>
      <p:sp>
        <p:nvSpPr>
          <p:cNvPr id="6149" name="Rectangle 8"/>
          <p:cNvSpPr>
            <a:spLocks noGrp="1" noChangeArrowheads="1"/>
          </p:cNvSpPr>
          <p:nvPr>
            <p:ph type="body" idx="1"/>
          </p:nvPr>
        </p:nvSpPr>
        <p:spPr bwMode="auto">
          <a:xfrm>
            <a:off x="971550" y="1125538"/>
            <a:ext cx="7537450" cy="403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Terzo livello</a:t>
            </a:r>
          </a:p>
          <a:p>
            <a:pPr lvl="2"/>
            <a:r>
              <a:rPr lang="it-IT" smtClean="0"/>
              <a:t>Quarto livello</a:t>
            </a:r>
          </a:p>
        </p:txBody>
      </p:sp>
      <p:pic>
        <p:nvPicPr>
          <p:cNvPr id="6150" name="Picture 22" descr="r&amp;malto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419100" y="6018213"/>
            <a:ext cx="8305800" cy="65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78" r:id="rId2"/>
    <p:sldLayoutId id="2147483677" r:id="rId3"/>
    <p:sldLayoutId id="2147483676" r:id="rId4"/>
    <p:sldLayoutId id="2147483675" r:id="rId5"/>
    <p:sldLayoutId id="2147483674" r:id="rId6"/>
    <p:sldLayoutId id="2147483673" r:id="rId7"/>
    <p:sldLayoutId id="2147483672" r:id="rId8"/>
    <p:sldLayoutId id="2147483671" r:id="rId9"/>
    <p:sldLayoutId id="2147483670" r:id="rId10"/>
    <p:sldLayoutId id="2147483669" r:id="rId11"/>
    <p:sldLayoutId id="2147483668" r:id="rId12"/>
    <p:sldLayoutId id="2147483667" r:id="rId13"/>
    <p:sldLayoutId id="2147483666" r:id="rId14"/>
    <p:sldLayoutId id="2147483665" r:id="rId15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Verdana" pitchFamily="34" charset="0"/>
        </a:defRPr>
      </a:lvl9pPr>
    </p:titleStyle>
    <p:bodyStyle>
      <a:lvl1pPr marL="182563" indent="-182563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Font typeface="Wingdings" pitchFamily="2" charset="2"/>
        <a:buChar char="§"/>
        <a:defRPr>
          <a:solidFill>
            <a:srgbClr val="757575"/>
          </a:solidFill>
          <a:latin typeface="+mn-lt"/>
          <a:ea typeface="+mn-ea"/>
          <a:cs typeface="+mn-cs"/>
        </a:defRPr>
      </a:lvl1pPr>
      <a:lvl2pPr marL="530225" indent="-168275" algn="l" rtl="0" eaLnBrk="0" fontAlgn="base" hangingPunct="0">
        <a:spcBef>
          <a:spcPct val="20000"/>
        </a:spcBef>
        <a:spcAft>
          <a:spcPct val="0"/>
        </a:spcAft>
        <a:buClr>
          <a:srgbClr val="C0C0C0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2pPr>
      <a:lvl3pPr marL="898525" indent="-1825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078E3B1A-1F81-4ACC-8223-F644A81B41EA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06/07/2016</a:t>
            </a:fld>
            <a:endParaRPr lang="it-IT" smtClean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it-IT" smtClean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C0DCCECE-18FD-42D7-8F51-7381C7C0D36D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›</a:t>
            </a:fld>
            <a:endParaRPr lang="it-IT" smtClean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4762353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164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0" y="1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1" name="Picture 15" descr="altromarchio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6094414"/>
            <a:ext cx="8299450" cy="663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2" name="Rectangle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457200" y="-26988"/>
            <a:ext cx="8305800" cy="79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 smtClean="0"/>
              <a:t>Fare clic per modificare lo stile del titolo</a:t>
            </a:r>
          </a:p>
        </p:txBody>
      </p:sp>
      <p:sp>
        <p:nvSpPr>
          <p:cNvPr id="2053" name="Rectangle 3"/>
          <p:cNvSpPr>
            <a:spLocks noGrp="1" noChangeArrowheads="1"/>
          </p:cNvSpPr>
          <p:nvPr>
            <p:ph type="body" idx="1"/>
            <p:custDataLst>
              <p:tags r:id="rId12"/>
            </p:custDataLst>
          </p:nvPr>
        </p:nvSpPr>
        <p:spPr bwMode="auto">
          <a:xfrm>
            <a:off x="803277" y="1092200"/>
            <a:ext cx="7535863" cy="403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 smtClean="0"/>
              <a:t>Fare clic per modificare gli stili del testo dello schema</a:t>
            </a:r>
          </a:p>
          <a:p>
            <a:pPr lvl="1"/>
            <a:r>
              <a:rPr lang="it-IT" altLang="it-IT" smtClean="0"/>
              <a:t>Secondo livello</a:t>
            </a:r>
          </a:p>
          <a:p>
            <a:pPr lvl="2"/>
            <a:r>
              <a:rPr lang="it-IT" altLang="it-IT" smtClean="0"/>
              <a:t>Terzo livello</a:t>
            </a:r>
          </a:p>
        </p:txBody>
      </p:sp>
      <p:sp>
        <p:nvSpPr>
          <p:cNvPr id="2054" name="Line 14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>
            <a:off x="412750" y="765175"/>
            <a:ext cx="8305800" cy="0"/>
          </a:xfrm>
          <a:prstGeom prst="line">
            <a:avLst/>
          </a:prstGeom>
          <a:noFill/>
          <a:ln w="1905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hangingPunct="0"/>
            <a:endParaRPr lang="it-IT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031" name="Title 1"/>
          <p:cNvSpPr txBox="1">
            <a:spLocks/>
          </p:cNvSpPr>
          <p:nvPr/>
        </p:nvSpPr>
        <p:spPr bwMode="auto">
          <a:xfrm>
            <a:off x="7942265" y="6435726"/>
            <a:ext cx="636587" cy="184666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buSzPct val="100000"/>
              <a:defRPr/>
            </a:pPr>
            <a:fld id="{AA81E417-E7D7-45B4-8950-0554500B9FB2}" type="slidenum">
              <a:rPr lang="en-US" altLang="it-IT" sz="900" baseline="30000" smtClean="0">
                <a:solidFill>
                  <a:srgbClr val="000000"/>
                </a:solidFill>
                <a:latin typeface="Verdana" panose="020B0604030504040204" pitchFamily="34" charset="0"/>
              </a:rPr>
              <a:pPr algn="r">
                <a:buSzPct val="100000"/>
                <a:defRPr/>
              </a:pPr>
              <a:t>‹N›</a:t>
            </a:fld>
            <a:endParaRPr lang="en-US" altLang="it-IT" sz="900" baseline="30000" dirty="0" smtClean="0">
              <a:solidFill>
                <a:srgbClr val="000000"/>
              </a:solidFill>
              <a:latin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14056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5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500">
          <a:solidFill>
            <a:schemeClr val="bg2"/>
          </a:solidFill>
          <a:latin typeface="Verdana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500">
          <a:solidFill>
            <a:schemeClr val="bg2"/>
          </a:solidFill>
          <a:latin typeface="Verdana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500">
          <a:solidFill>
            <a:schemeClr val="bg2"/>
          </a:solidFill>
          <a:latin typeface="Verdana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500">
          <a:solidFill>
            <a:schemeClr val="bg2"/>
          </a:solidFill>
          <a:latin typeface="Verdana" pitchFamily="34" charset="0"/>
          <a:cs typeface="Arial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500">
          <a:solidFill>
            <a:schemeClr val="bg2"/>
          </a:solidFill>
          <a:latin typeface="Verdana" pitchFamily="34" charset="0"/>
          <a:cs typeface="Arial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500">
          <a:solidFill>
            <a:schemeClr val="bg2"/>
          </a:solidFill>
          <a:latin typeface="Verdana" pitchFamily="34" charset="0"/>
          <a:cs typeface="Arial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500">
          <a:solidFill>
            <a:schemeClr val="bg2"/>
          </a:solidFill>
          <a:latin typeface="Verdana" pitchFamily="34" charset="0"/>
          <a:cs typeface="Arial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500">
          <a:solidFill>
            <a:schemeClr val="bg2"/>
          </a:solidFill>
          <a:latin typeface="Verdana" pitchFamily="34" charset="0"/>
          <a:cs typeface="Arial" charset="0"/>
        </a:defRPr>
      </a:lvl9pPr>
    </p:titleStyle>
    <p:bodyStyle>
      <a:lvl1pPr marL="136922" indent="-136922" algn="l" defTabSz="511969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Font typeface="Wingdings" panose="05000000000000000000" pitchFamily="2" charset="2"/>
        <a:buChar char="§"/>
        <a:defRPr sz="1200">
          <a:solidFill>
            <a:srgbClr val="757575"/>
          </a:solidFill>
          <a:latin typeface="+mn-lt"/>
          <a:ea typeface="+mn-ea"/>
          <a:cs typeface="+mn-cs"/>
        </a:defRPr>
      </a:lvl1pPr>
      <a:lvl2pPr marL="279797" indent="-141685" algn="l" defTabSz="511969" rtl="0" eaLnBrk="0" fontAlgn="base" hangingPunct="0">
        <a:spcBef>
          <a:spcPct val="20000"/>
        </a:spcBef>
        <a:spcAft>
          <a:spcPct val="0"/>
        </a:spcAft>
        <a:buClr>
          <a:srgbClr val="C0C0C0"/>
        </a:buClr>
        <a:buFont typeface="Wingdings" panose="05000000000000000000" pitchFamily="2" charset="2"/>
        <a:buChar char="§"/>
        <a:defRPr sz="1050">
          <a:solidFill>
            <a:schemeClr val="tx1"/>
          </a:solidFill>
          <a:latin typeface="+mn-lt"/>
          <a:cs typeface="+mn-cs"/>
        </a:defRPr>
      </a:lvl2pPr>
      <a:lvl3pPr marL="406004" indent="-125016" algn="l" defTabSz="511969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§"/>
        <a:defRPr sz="900">
          <a:solidFill>
            <a:schemeClr val="tx1"/>
          </a:solidFill>
          <a:latin typeface="+mn-lt"/>
          <a:cs typeface="+mn-cs"/>
        </a:defRPr>
      </a:lvl3pPr>
      <a:lvl4pPr marL="1200150" indent="-171450" algn="l" defTabSz="511969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§"/>
        <a:defRPr sz="900">
          <a:solidFill>
            <a:schemeClr val="tx1"/>
          </a:solidFill>
          <a:latin typeface="+mn-lt"/>
          <a:cs typeface="+mn-cs"/>
        </a:defRPr>
      </a:lvl4pPr>
      <a:lvl5pPr marL="1543050" indent="-171450" algn="l" defTabSz="511969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§"/>
        <a:defRPr sz="900">
          <a:solidFill>
            <a:schemeClr val="tx1"/>
          </a:solidFill>
          <a:latin typeface="+mn-lt"/>
          <a:cs typeface="+mn-cs"/>
        </a:defRPr>
      </a:lvl5pPr>
      <a:lvl6pPr marL="1885950" indent="-171450" algn="l" defTabSz="511969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900">
          <a:solidFill>
            <a:schemeClr val="tx1"/>
          </a:solidFill>
          <a:latin typeface="+mn-lt"/>
          <a:cs typeface="+mn-cs"/>
        </a:defRPr>
      </a:lvl6pPr>
      <a:lvl7pPr marL="2228850" indent="-171450" algn="l" defTabSz="511969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900">
          <a:solidFill>
            <a:schemeClr val="tx1"/>
          </a:solidFill>
          <a:latin typeface="+mn-lt"/>
          <a:cs typeface="+mn-cs"/>
        </a:defRPr>
      </a:lvl7pPr>
      <a:lvl8pPr marL="2571750" indent="-171450" algn="l" defTabSz="511969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900">
          <a:solidFill>
            <a:schemeClr val="tx1"/>
          </a:solidFill>
          <a:latin typeface="+mn-lt"/>
          <a:cs typeface="+mn-cs"/>
        </a:defRPr>
      </a:lvl8pPr>
      <a:lvl9pPr marL="2914650" indent="-171450" algn="l" defTabSz="511969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9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it-I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2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2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2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2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gif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15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4"/>
          <p:cNvSpPr>
            <a:spLocks noGrp="1" noChangeArrowheads="1"/>
          </p:cNvSpPr>
          <p:nvPr>
            <p:ph type="ctrTitle"/>
          </p:nvPr>
        </p:nvSpPr>
        <p:spPr>
          <a:ln w="12700"/>
        </p:spPr>
        <p:txBody>
          <a:bodyPr/>
          <a:lstStyle/>
          <a:p>
            <a:pPr eaLnBrk="1" hangingPunct="1"/>
            <a:r>
              <a:rPr lang="it-IT" sz="2800" dirty="0" smtClean="0"/>
              <a:t>I 10 anni che hanno cambiato tutto</a:t>
            </a:r>
            <a:endParaRPr lang="it-IT" sz="2800" dirty="0" smtClean="0"/>
          </a:p>
        </p:txBody>
      </p:sp>
      <p:sp>
        <p:nvSpPr>
          <p:cNvPr id="8195" name="Rectangle 5"/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pPr eaLnBrk="1" hangingPunct="1"/>
            <a:r>
              <a:rPr lang="it-IT" sz="1800" dirty="0" smtClean="0">
                <a:latin typeface="+mj-lt"/>
              </a:rPr>
              <a:t>Marco Bardazzi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 descr="http://static6.businessinsider.com/image/4f4e8790eab8ea6038000062-960/newspaper-ad-spending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404664"/>
            <a:ext cx="4943599" cy="3393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4" name="Picture 4" descr="http://www.niemanlab.org/images/NewspaperAdRevenue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1880" y="3975208"/>
            <a:ext cx="5508521" cy="288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198064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04" y="711211"/>
            <a:ext cx="4608117" cy="4368111"/>
          </a:xfrm>
          <a:prstGeom prst="rect">
            <a:avLst/>
          </a:prstGeom>
        </p:spPr>
      </p:pic>
      <p:pic>
        <p:nvPicPr>
          <p:cNvPr id="3" name="Immagin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88024" y="2492896"/>
            <a:ext cx="4164199" cy="3947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39788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 descr="Spazi &amp; Fatturati Adv Quotidiani 2009_201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1571" y="2002633"/>
            <a:ext cx="3844138" cy="2867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8" name="Picture 4" descr="http://www.primaonline.it/wp-content/uploads/2015/04/Schermata-2015-04-01-a-12.25.33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47186"/>
            <a:ext cx="4717883" cy="6778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asellaDiTesto 1"/>
          <p:cNvSpPr txBox="1"/>
          <p:nvPr/>
        </p:nvSpPr>
        <p:spPr>
          <a:xfrm>
            <a:off x="6012160" y="980728"/>
            <a:ext cx="223224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40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talia</a:t>
            </a:r>
            <a:endParaRPr lang="it-IT" sz="4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57471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egnaposto contenuto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576" y="44624"/>
            <a:ext cx="7704856" cy="6757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157172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/>
          <p:cNvSpPr txBox="1"/>
          <p:nvPr/>
        </p:nvSpPr>
        <p:spPr>
          <a:xfrm>
            <a:off x="3491880" y="2636912"/>
            <a:ext cx="194796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5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5</a:t>
            </a:r>
            <a:endParaRPr lang="it-IT" sz="5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83017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http://media.digitalnewsreport.org.s3.amazonaws.com/wp-content/uploads/2016/01/Distributed-content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16632"/>
            <a:ext cx="8681927" cy="35283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Immagin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64091" y="3789040"/>
            <a:ext cx="6400800" cy="289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271290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536" y="1124744"/>
            <a:ext cx="8463082" cy="4147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9803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 descr="FB vs YouTub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556792"/>
            <a:ext cx="8906185" cy="4002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5139861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2" descr="Paris attack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332656"/>
            <a:ext cx="8839727" cy="60691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2959125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/>
          <p:cNvSpPr txBox="1"/>
          <p:nvPr/>
        </p:nvSpPr>
        <p:spPr>
          <a:xfrm>
            <a:off x="1115616" y="2636912"/>
            <a:ext cx="693940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5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rend 2016…e oltre</a:t>
            </a:r>
            <a:endParaRPr lang="it-IT" sz="5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76307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 txBox="1">
            <a:spLocks noChangeArrowheads="1"/>
          </p:cNvSpPr>
          <p:nvPr/>
        </p:nvSpPr>
        <p:spPr>
          <a:xfrm>
            <a:off x="683568" y="1988840"/>
            <a:ext cx="7537450" cy="863426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auto"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it-IT" sz="5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06-2007</a:t>
            </a:r>
          </a:p>
          <a:p>
            <a:pPr marL="0" indent="0" algn="ctr" fontAlgn="auto"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it-IT" sz="5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li anni della </a:t>
            </a:r>
            <a:r>
              <a:rPr lang="it-IT" sz="54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sruption</a:t>
            </a:r>
            <a:endParaRPr lang="it-IT" sz="54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9462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7746" y="1088920"/>
            <a:ext cx="8320718" cy="4192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48976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528" y="1268760"/>
            <a:ext cx="8461334" cy="4123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541254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5825" y="366712"/>
            <a:ext cx="7372350" cy="6124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916023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830" y="1052736"/>
            <a:ext cx="8463658" cy="4784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324101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350" y="1412776"/>
            <a:ext cx="9128059" cy="4176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730778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2" descr="http://media.digitalnewsreport.org.s3.amazonaws.com/wp-content/uploads/2016/01/Addiction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476672"/>
            <a:ext cx="7976766" cy="57116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7847811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2" descr="http://media.digitalnewsreport.org.s3.amazonaws.com/wp-content/uploads/2016/01/Screenshot-2016-01-08-16.38.44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628800"/>
            <a:ext cx="8239075" cy="32206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1588515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Picture 2" descr="http://media.digitalnewsreport.org.s3.amazonaws.com/wp-content/uploads/2016/01/Screenshot-2016-01-08-16.56.04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764704"/>
            <a:ext cx="7929204" cy="5096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6516007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Picture 2" descr="http://media.digitalnewsreport.org.s3.amazonaws.com/wp-content/uploads/2016/01/Messaging-growth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853" y="1124744"/>
            <a:ext cx="8636411" cy="48245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078904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24" y="26622"/>
            <a:ext cx="9108504" cy="6831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6799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https://upload.wikimedia.org/wikipedia/commons/e/ef/MarkZuckerberg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88640"/>
            <a:ext cx="3268220" cy="4104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 descr="https://lh3.googleusercontent.com/ydQg6VbnLHT3-9CYJV5qHi8LKJohXyJaJDqLZg9GkV1g4fItBeNHRMaMU2jh_DJW6MnibDtuTRXr5XtPlg9GQditEeWJnn7kRJwOW4v-NGCg3VUhLWSAbl5qyQ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5936" y="3356992"/>
            <a:ext cx="5069454" cy="3384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asellaDiTesto 1"/>
          <p:cNvSpPr txBox="1"/>
          <p:nvPr/>
        </p:nvSpPr>
        <p:spPr>
          <a:xfrm>
            <a:off x="3635896" y="1886925"/>
            <a:ext cx="568863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40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6 settembre 2006</a:t>
            </a:r>
            <a:endParaRPr lang="it-IT" sz="4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852415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96" y="44624"/>
            <a:ext cx="9108504" cy="6831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48904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003" y="0"/>
            <a:ext cx="9168003" cy="6876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6879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5282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6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0243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0183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598FF0E-BC33-4F63-A398-E4DF11E79406}" type="slidenum">
              <a:rPr lang="it-IT" smtClean="0"/>
              <a:pPr>
                <a:defRPr/>
              </a:pPr>
              <a:t>35</a:t>
            </a:fld>
            <a:endParaRPr lang="it-IT"/>
          </a:p>
        </p:txBody>
      </p:sp>
      <p:pic>
        <p:nvPicPr>
          <p:cNvPr id="23556" name="Picture 4" descr="http://www.easyrecognition.com/wsimages/Slide4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7864" y="1484784"/>
            <a:ext cx="6410325" cy="381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5"/>
          <p:cNvSpPr txBox="1">
            <a:spLocks noChangeArrowheads="1"/>
          </p:cNvSpPr>
          <p:nvPr/>
        </p:nvSpPr>
        <p:spPr bwMode="auto">
          <a:xfrm>
            <a:off x="395536" y="3084984"/>
            <a:ext cx="64008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Font typeface="Wingdings" pitchFamily="2" charset="2"/>
              <a:buChar char="§"/>
              <a:defRPr>
                <a:solidFill>
                  <a:srgbClr val="757575"/>
                </a:solidFill>
                <a:latin typeface="+mn-lt"/>
                <a:ea typeface="+mn-ea"/>
                <a:cs typeface="+mn-cs"/>
              </a:defRPr>
            </a:lvl1pPr>
            <a:lvl2pPr marL="530225" indent="-1682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C0C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2pPr>
            <a:lvl3pPr marL="898525" indent="-1825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eaLnBrk="1" hangingPunct="1">
              <a:buNone/>
            </a:pPr>
            <a:r>
              <a:rPr lang="it-IT" b="1" kern="0" dirty="0" smtClean="0"/>
              <a:t>Marco Bardazzi</a:t>
            </a:r>
          </a:p>
          <a:p>
            <a:pPr marL="0" indent="0" eaLnBrk="1" hangingPunct="1">
              <a:buNone/>
            </a:pPr>
            <a:r>
              <a:rPr lang="it-IT" kern="0" dirty="0" smtClean="0"/>
              <a:t>Direttore Comunicazione Esterna</a:t>
            </a:r>
          </a:p>
          <a:p>
            <a:pPr marL="0" indent="0" eaLnBrk="1" hangingPunct="1">
              <a:buNone/>
            </a:pPr>
            <a:endParaRPr lang="it-IT" kern="0" dirty="0"/>
          </a:p>
          <a:p>
            <a:pPr marL="0" indent="0" eaLnBrk="1" hangingPunct="1">
              <a:buNone/>
            </a:pPr>
            <a:r>
              <a:rPr lang="it-IT" kern="0" dirty="0" smtClean="0"/>
              <a:t>marco.bardazzi@eni.com</a:t>
            </a:r>
          </a:p>
          <a:p>
            <a:pPr marL="0" indent="0" eaLnBrk="1" hangingPunct="1">
              <a:buNone/>
            </a:pPr>
            <a:endParaRPr lang="it-IT" kern="0" dirty="0"/>
          </a:p>
          <a:p>
            <a:pPr marL="0" indent="0" eaLnBrk="1" hangingPunct="1">
              <a:buNone/>
            </a:pPr>
            <a:r>
              <a:rPr lang="it-IT" kern="0" dirty="0" smtClean="0"/>
              <a:t>        @</a:t>
            </a:r>
            <a:r>
              <a:rPr lang="it-IT" kern="0" dirty="0" err="1" smtClean="0"/>
              <a:t>marcobardazzi</a:t>
            </a:r>
            <a:endParaRPr lang="it-IT" kern="0" dirty="0" smtClean="0"/>
          </a:p>
        </p:txBody>
      </p:sp>
      <p:pic>
        <p:nvPicPr>
          <p:cNvPr id="8" name="Picture 2" descr="https://g.twimg.com/Twitter_logo_blue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4725144"/>
            <a:ext cx="585693" cy="476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9077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http://googlenewssubmit.com/wp-content/uploads/2014/05/Google-news-updated-with-new-features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1720" y="3861048"/>
            <a:ext cx="5262066" cy="2518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6" name="Picture 4" descr="http://www.tricoastworldwide.com/wp-content/uploads/2014/02/huffington-post-logo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1760" y="2132856"/>
            <a:ext cx="3943350" cy="1390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asellaDiTesto 1"/>
          <p:cNvSpPr txBox="1"/>
          <p:nvPr/>
        </p:nvSpPr>
        <p:spPr>
          <a:xfrm>
            <a:off x="1467111" y="476672"/>
            <a:ext cx="583264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40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06: Gli aggregatori</a:t>
            </a:r>
            <a:endParaRPr lang="it-IT" sz="4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73648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 txBox="1">
            <a:spLocks noChangeAspect="1" noChangeArrowheads="1"/>
          </p:cNvSpPr>
          <p:nvPr/>
        </p:nvSpPr>
        <p:spPr>
          <a:xfrm>
            <a:off x="323528" y="476672"/>
            <a:ext cx="8305800" cy="792163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it-IT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06: Smartphone?</a:t>
            </a:r>
            <a:endParaRPr lang="it-IT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" name="Picture 4" descr="foto (7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150" y="1196752"/>
            <a:ext cx="7130572" cy="48367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119134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jobs-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55"/>
          <a:stretch>
            <a:fillRect/>
          </a:stretch>
        </p:blipFill>
        <p:spPr bwMode="auto">
          <a:xfrm>
            <a:off x="2437821" y="2321496"/>
            <a:ext cx="6706179" cy="45365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2" descr="http://www.mac-history.net/wp-content/uploads/2009/01/10_mac25_iphone_350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5616" y="1412776"/>
            <a:ext cx="3024336" cy="4882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10"/>
          <p:cNvSpPr txBox="1">
            <a:spLocks noChangeAspect="1" noChangeArrowheads="1"/>
          </p:cNvSpPr>
          <p:nvPr/>
        </p:nvSpPr>
        <p:spPr>
          <a:xfrm>
            <a:off x="395536" y="476672"/>
            <a:ext cx="8305800" cy="792163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it-IT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07: Smartphone!</a:t>
            </a:r>
            <a:endParaRPr lang="it-IT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91565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20" name="Picture 4" descr="http://www.silverdoctors.com/wp-content/uploads/2016/02/crash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88640"/>
            <a:ext cx="4762500" cy="266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2" name="Picture 6" descr="http://www.abc.net.au/news/image/240378-3x2-940x627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3728" y="3693131"/>
            <a:ext cx="4416425" cy="2945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18" name="Picture 2" descr="http://blogs-images.forbes.com/joshuabrown/files/2012/09/Lehman-Brothers-008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8024" y="1484784"/>
            <a:ext cx="4021460" cy="2412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asellaDiTesto 1"/>
          <p:cNvSpPr txBox="1"/>
          <p:nvPr/>
        </p:nvSpPr>
        <p:spPr>
          <a:xfrm>
            <a:off x="549524" y="2924944"/>
            <a:ext cx="40224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8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08: La grande crisi</a:t>
            </a:r>
            <a:endParaRPr lang="it-IT" sz="28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25286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egnaposto contenuto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980" y="1340768"/>
            <a:ext cx="8208912" cy="4850721"/>
          </a:xfrm>
          <a:prstGeom prst="rect">
            <a:avLst/>
          </a:prstGeom>
        </p:spPr>
      </p:pic>
      <p:sp>
        <p:nvSpPr>
          <p:cNvPr id="3" name="Rectangle 10"/>
          <p:cNvSpPr txBox="1">
            <a:spLocks noChangeAspect="1" noChangeArrowheads="1"/>
          </p:cNvSpPr>
          <p:nvPr/>
        </p:nvSpPr>
        <p:spPr>
          <a:xfrm>
            <a:off x="395536" y="476672"/>
            <a:ext cx="8305800" cy="792163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it-IT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n mondo </a:t>
            </a:r>
            <a:r>
              <a:rPr lang="it-IT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gitale</a:t>
            </a:r>
          </a:p>
        </p:txBody>
      </p:sp>
    </p:spTree>
    <p:extLst>
      <p:ext uri="{BB962C8B-B14F-4D97-AF65-F5344CB8AC3E}">
        <p14:creationId xmlns:p14="http://schemas.microsoft.com/office/powerpoint/2010/main" val="2003944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  <p:pic>
        <p:nvPicPr>
          <p:cNvPr id="4" name="Segnaposto contenuto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4544" y="-26988"/>
            <a:ext cx="10346930" cy="6884988"/>
          </a:xfrm>
        </p:spPr>
      </p:pic>
      <p:sp>
        <p:nvSpPr>
          <p:cNvPr id="5" name="Titolo 1"/>
          <p:cNvSpPr txBox="1">
            <a:spLocks/>
          </p:cNvSpPr>
          <p:nvPr/>
        </p:nvSpPr>
        <p:spPr bwMode="auto">
          <a:xfrm>
            <a:off x="3372264" y="235744"/>
            <a:ext cx="4031424" cy="79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91440" bIns="4572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bg2"/>
                </a:solidFill>
                <a:latin typeface="Verdana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bg2"/>
                </a:solidFill>
                <a:latin typeface="Verdana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bg2"/>
                </a:solidFill>
                <a:latin typeface="Verdana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bg2"/>
                </a:solidFill>
                <a:latin typeface="Verdana" pitchFamily="34" charset="0"/>
                <a:cs typeface="Arial" charset="0"/>
              </a:defRPr>
            </a:lvl5pPr>
            <a:lvl6pPr marL="342900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chemeClr val="bg2"/>
                </a:solidFill>
                <a:latin typeface="Verdana" pitchFamily="34" charset="0"/>
                <a:cs typeface="Arial" charset="0"/>
              </a:defRPr>
            </a:lvl6pPr>
            <a:lvl7pPr marL="685800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chemeClr val="bg2"/>
                </a:solidFill>
                <a:latin typeface="Verdana" pitchFamily="34" charset="0"/>
                <a:cs typeface="Arial" charset="0"/>
              </a:defRPr>
            </a:lvl7pPr>
            <a:lvl8pPr marL="1028700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chemeClr val="bg2"/>
                </a:solidFill>
                <a:latin typeface="Verdana" pitchFamily="34" charset="0"/>
                <a:cs typeface="Arial" charset="0"/>
              </a:defRPr>
            </a:lvl8pPr>
            <a:lvl9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chemeClr val="bg2"/>
                </a:solidFill>
                <a:latin typeface="Verdana" pitchFamily="34" charset="0"/>
                <a:cs typeface="Arial" charset="0"/>
              </a:defRPr>
            </a:lvl9pPr>
          </a:lstStyle>
          <a:p>
            <a:endParaRPr lang="it-IT" sz="2400" u="sng" kern="0" dirty="0">
              <a:solidFill>
                <a:schemeClr val="bg1"/>
              </a:solidFill>
              <a:latin typeface="EniExpBold" panose="02000503030000020004" pitchFamily="50" charset="0"/>
            </a:endParaRPr>
          </a:p>
        </p:txBody>
      </p:sp>
      <p:sp>
        <p:nvSpPr>
          <p:cNvPr id="6" name="CasellaDiTesto 5"/>
          <p:cNvSpPr txBox="1"/>
          <p:nvPr/>
        </p:nvSpPr>
        <p:spPr>
          <a:xfrm>
            <a:off x="539552" y="1188282"/>
            <a:ext cx="2244525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50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gital</a:t>
            </a:r>
            <a:endParaRPr lang="it-IT" sz="5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CasellaDiTesto 6"/>
          <p:cNvSpPr txBox="1"/>
          <p:nvPr/>
        </p:nvSpPr>
        <p:spPr>
          <a:xfrm>
            <a:off x="5508104" y="2512668"/>
            <a:ext cx="2247731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50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obile</a:t>
            </a:r>
            <a:endParaRPr lang="it-IT" sz="5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CasellaDiTesto 7"/>
          <p:cNvSpPr txBox="1"/>
          <p:nvPr/>
        </p:nvSpPr>
        <p:spPr>
          <a:xfrm>
            <a:off x="5508104" y="4653136"/>
            <a:ext cx="2667718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50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haring</a:t>
            </a:r>
            <a:endParaRPr lang="it-IT" sz="5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4990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kKdOzSfEODAnQuVTYzb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8TThwd_0yZrGDAssZiD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kKdOzSfEODAnQuVTYzb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8TThwd_0yZrGDAssZiD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PyCPeAQ0GUjzJLdQtm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D7dgcTSEaMbRyZvJjOP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kKdOzSfEODAnQuVTYz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.WjfYxSV0K9eR_5Ig10M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8TThwd_0yZrGDAssZiDQ"/>
</p:tagLst>
</file>

<file path=ppt/theme/theme1.xml><?xml version="1.0" encoding="utf-8"?>
<a:theme xmlns:a="http://schemas.openxmlformats.org/drawingml/2006/main" name="Template Refining &amp; Marketing">
  <a:themeElements>
    <a:clrScheme name="Template Refining &amp; Marketing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Template Refining &amp; Marketing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emplate Refining &amp; Marketing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 Refining &amp; Marketing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 Refining &amp; Marketing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 Refining &amp; Marketing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 Refining &amp; Marketing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 Refining &amp; Marketing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 Refining &amp; Marketing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 Refining &amp; Marketing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 Refining &amp; Marketing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 Refining &amp; Marketing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 Refining &amp; Marketing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 Refining &amp; Marketing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eni 2012">
  <a:themeElements>
    <a:clrScheme name="Eni 201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9900"/>
      </a:accent1>
      <a:accent2>
        <a:srgbClr val="FFFF99"/>
      </a:accent2>
      <a:accent3>
        <a:srgbClr val="FFCC00"/>
      </a:accent3>
      <a:accent4>
        <a:srgbClr val="C0C0C0"/>
      </a:accent4>
      <a:accent5>
        <a:srgbClr val="993300"/>
      </a:accent5>
      <a:accent6>
        <a:srgbClr val="808080"/>
      </a:accent6>
      <a:hlink>
        <a:srgbClr val="FFCC00"/>
      </a:hlink>
      <a:folHlink>
        <a:srgbClr val="C0C0C0"/>
      </a:folHlink>
    </a:clrScheme>
    <a:fontScheme name="Eni 2012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3175">
          <a:solidFill>
            <a:schemeClr val="accent4"/>
          </a:solidFill>
        </a:ln>
      </a:spPr>
      <a:bodyPr rtlCol="0" anchor="ctr"/>
      <a:lstStyle>
        <a:defPPr algn="ctr">
          <a:defRPr sz="1200" dirty="0" err="1" smtClean="0">
            <a:solidFill>
              <a:srgbClr val="77777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Struttura predefinita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uttura predefinita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uttura predefinita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uttura predefinita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uttura predefinita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uttura predefinita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uttura predefinita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uttura predefinita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uttura predefinita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uttura predefinita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uttura predefinita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uttura predefinita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uttura predefinita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9900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FFCAAA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uttura predefinita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9900"/>
        </a:accent1>
        <a:accent2>
          <a:srgbClr val="FFFF99"/>
        </a:accent2>
        <a:accent3>
          <a:srgbClr val="FFFFFF"/>
        </a:accent3>
        <a:accent4>
          <a:srgbClr val="000000"/>
        </a:accent4>
        <a:accent5>
          <a:srgbClr val="FFCAAA"/>
        </a:accent5>
        <a:accent6>
          <a:srgbClr val="E7E7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uttura predefinita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9900"/>
        </a:accent1>
        <a:accent2>
          <a:srgbClr val="FFFF99"/>
        </a:accent2>
        <a:accent3>
          <a:srgbClr val="FFFFFF"/>
        </a:accent3>
        <a:accent4>
          <a:srgbClr val="000000"/>
        </a:accent4>
        <a:accent5>
          <a:srgbClr val="FFCAAA"/>
        </a:accent5>
        <a:accent6>
          <a:srgbClr val="E7E78A"/>
        </a:accent6>
        <a:hlink>
          <a:srgbClr val="FFCC0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uttura predefinita 1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9900"/>
        </a:accent1>
        <a:accent2>
          <a:srgbClr val="FFFF99"/>
        </a:accent2>
        <a:accent3>
          <a:srgbClr val="FFFFFF"/>
        </a:accent3>
        <a:accent4>
          <a:srgbClr val="000000"/>
        </a:accent4>
        <a:accent5>
          <a:srgbClr val="FFCAAA"/>
        </a:accent5>
        <a:accent6>
          <a:srgbClr val="E7E78A"/>
        </a:accent6>
        <a:hlink>
          <a:srgbClr val="FFCC00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Tema di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di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18</TotalTime>
  <Words>56</Words>
  <Application>Microsoft Office PowerPoint</Application>
  <PresentationFormat>Presentazione su schermo (4:3)</PresentationFormat>
  <Paragraphs>24</Paragraphs>
  <Slides>35</Slides>
  <Notes>1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6</vt:i4>
      </vt:variant>
      <vt:variant>
        <vt:lpstr>Tema</vt:lpstr>
      </vt:variant>
      <vt:variant>
        <vt:i4>3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35</vt:i4>
      </vt:variant>
    </vt:vector>
  </HeadingPairs>
  <TitlesOfParts>
    <vt:vector size="45" baseType="lpstr">
      <vt:lpstr>Arial</vt:lpstr>
      <vt:lpstr>Calibri</vt:lpstr>
      <vt:lpstr>Calibri Light</vt:lpstr>
      <vt:lpstr>EniExpBold</vt:lpstr>
      <vt:lpstr>Verdana</vt:lpstr>
      <vt:lpstr>Wingdings</vt:lpstr>
      <vt:lpstr>Template Refining &amp; Marketing</vt:lpstr>
      <vt:lpstr>Tema di Office</vt:lpstr>
      <vt:lpstr>3_eni 2012</vt:lpstr>
      <vt:lpstr>think-cell Slide</vt:lpstr>
      <vt:lpstr>I 10 anni che hanno cambiato tutto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erdana 30 pt</dc:title>
  <dc:creator>v.pitrone</dc:creator>
  <cp:lastModifiedBy>Bardazzi Marco</cp:lastModifiedBy>
  <cp:revision>75</cp:revision>
  <cp:lastPrinted>2016-05-03T08:43:41Z</cp:lastPrinted>
  <dcterms:created xsi:type="dcterms:W3CDTF">2009-03-30T13:03:03Z</dcterms:created>
  <dcterms:modified xsi:type="dcterms:W3CDTF">2016-07-06T13:50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i4>1</vt:i4>
  </property>
</Properties>
</file>